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99" r:id="rId4"/>
  </p:sldMasterIdLst>
  <p:notesMasterIdLst>
    <p:notesMasterId r:id="rId6"/>
  </p:notesMasterIdLst>
  <p:sldIdLst>
    <p:sldId id="2147470357" r:id="rId5"/>
  </p:sldIdLst>
  <p:sldSz cx="12192000" cy="6858000"/>
  <p:notesSz cx="7010400" cy="92964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54F513-AE27-2538-7F37-7A6B7977578F}" name="Whit Bernard" initials="WB" userId="Whit Bernard" providerId="None"/>
  <p188:author id="{C3D142B0-1626-A402-9F44-F39EBFB49FBD}" name="Eshan Vasudeva" initials="EV" userId="S::eshan.vasudeva@populationhp.com::8fd6d2dc-4408-45c9-b9c9-302955e1321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B2A"/>
    <a:srgbClr val="008352"/>
    <a:srgbClr val="DE5900"/>
    <a:srgbClr val="DE5A00"/>
    <a:srgbClr val="003A28"/>
    <a:srgbClr val="FFCEB3"/>
    <a:srgbClr val="FFE1D1"/>
    <a:srgbClr val="E06258"/>
    <a:srgbClr val="D5FFF2"/>
    <a:srgbClr val="A24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7E3D479-695B-2AF3-B454-906E161028CC}" v="10" dt="2023-09-28T10:56:43.303"/>
    <p1510:client id="{C6F0D78B-9B14-43AD-899B-69B3586FF08E}" v="35" vWet="39" dt="2023-09-28T10:56:38.8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Relationship Id="rId14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uart Lopez" userId="e8c0151a-f337-42b8-9c69-49b3be5c85a6" providerId="ADAL" clId="{B5D7E6F2-6F02-4B40-82B9-86C55C24F579}"/>
    <pc:docChg chg="modSld">
      <pc:chgData name="Stuart Lopez" userId="e8c0151a-f337-42b8-9c69-49b3be5c85a6" providerId="ADAL" clId="{B5D7E6F2-6F02-4B40-82B9-86C55C24F579}" dt="2023-09-15T14:56:28.623" v="6" actId="14100"/>
      <pc:docMkLst>
        <pc:docMk/>
      </pc:docMkLst>
      <pc:sldChg chg="modSp mod">
        <pc:chgData name="Stuart Lopez" userId="e8c0151a-f337-42b8-9c69-49b3be5c85a6" providerId="ADAL" clId="{B5D7E6F2-6F02-4B40-82B9-86C55C24F579}" dt="2023-09-15T14:56:28.623" v="6" actId="14100"/>
        <pc:sldMkLst>
          <pc:docMk/>
          <pc:sldMk cId="488077017" sldId="2147470357"/>
        </pc:sldMkLst>
        <pc:spChg chg="mod">
          <ac:chgData name="Stuart Lopez" userId="e8c0151a-f337-42b8-9c69-49b3be5c85a6" providerId="ADAL" clId="{B5D7E6F2-6F02-4B40-82B9-86C55C24F579}" dt="2023-09-15T14:56:28.623" v="6" actId="14100"/>
          <ac:spMkLst>
            <pc:docMk/>
            <pc:sldMk cId="488077017" sldId="2147470357"/>
            <ac:spMk id="7" creationId="{C768C937-7AEA-29B5-C8DB-00857148792F}"/>
          </ac:spMkLst>
        </pc:spChg>
        <pc:spChg chg="mod">
          <ac:chgData name="Stuart Lopez" userId="e8c0151a-f337-42b8-9c69-49b3be5c85a6" providerId="ADAL" clId="{B5D7E6F2-6F02-4B40-82B9-86C55C24F579}" dt="2023-09-15T14:56:22.875" v="4" actId="1076"/>
          <ac:spMkLst>
            <pc:docMk/>
            <pc:sldMk cId="488077017" sldId="2147470357"/>
            <ac:spMk id="21" creationId="{18ECCBBB-308B-3A90-8E85-04D85B82F503}"/>
          </ac:spMkLst>
        </pc:spChg>
        <pc:spChg chg="mod">
          <ac:chgData name="Stuart Lopez" userId="e8c0151a-f337-42b8-9c69-49b3be5c85a6" providerId="ADAL" clId="{B5D7E6F2-6F02-4B40-82B9-86C55C24F579}" dt="2023-09-15T14:56:12.211" v="1" actId="1076"/>
          <ac:spMkLst>
            <pc:docMk/>
            <pc:sldMk cId="488077017" sldId="2147470357"/>
            <ac:spMk id="22" creationId="{5F924A5E-9CC8-E82C-E80C-24081A58F890}"/>
          </ac:spMkLst>
        </pc:spChg>
      </pc:sldChg>
    </pc:docChg>
  </pc:docChgLst>
  <pc:docChgLst>
    <pc:chgData name="Venice Luceriaga" userId="S::venice.luceriaga@populationhp.com::839f0d71-ba4e-4d82-ba7c-a286ba33f464" providerId="AD" clId="Web-{B7E3D479-695B-2AF3-B454-906E161028CC}"/>
    <pc:docChg chg="modSld">
      <pc:chgData name="Venice Luceriaga" userId="S::venice.luceriaga@populationhp.com::839f0d71-ba4e-4d82-ba7c-a286ba33f464" providerId="AD" clId="Web-{B7E3D479-695B-2AF3-B454-906E161028CC}" dt="2023-09-28T10:56:43.303" v="8"/>
      <pc:docMkLst>
        <pc:docMk/>
      </pc:docMkLst>
      <pc:sldChg chg="delSp modSp">
        <pc:chgData name="Venice Luceriaga" userId="S::venice.luceriaga@populationhp.com::839f0d71-ba4e-4d82-ba7c-a286ba33f464" providerId="AD" clId="Web-{B7E3D479-695B-2AF3-B454-906E161028CC}" dt="2023-09-28T10:56:43.303" v="8"/>
        <pc:sldMkLst>
          <pc:docMk/>
          <pc:sldMk cId="488077017" sldId="2147470357"/>
        </pc:sldMkLst>
        <pc:spChg chg="mod">
          <ac:chgData name="Venice Luceriaga" userId="S::venice.luceriaga@populationhp.com::839f0d71-ba4e-4d82-ba7c-a286ba33f464" providerId="AD" clId="Web-{B7E3D479-695B-2AF3-B454-906E161028CC}" dt="2023-09-28T10:56:40.615" v="6" actId="20577"/>
          <ac:spMkLst>
            <pc:docMk/>
            <pc:sldMk cId="488077017" sldId="2147470357"/>
            <ac:spMk id="3" creationId="{36E0FA3E-A272-976C-9E4D-E1CF489F0696}"/>
          </ac:spMkLst>
        </pc:spChg>
        <pc:picChg chg="del mod">
          <ac:chgData name="Venice Luceriaga" userId="S::venice.luceriaga@populationhp.com::839f0d71-ba4e-4d82-ba7c-a286ba33f464" providerId="AD" clId="Web-{B7E3D479-695B-2AF3-B454-906E161028CC}" dt="2023-09-28T10:56:43.303" v="8"/>
          <ac:picMkLst>
            <pc:docMk/>
            <pc:sldMk cId="488077017" sldId="2147470357"/>
            <ac:picMk id="9" creationId="{F5D3E23A-1E51-D1C9-CB30-5690A0EBD3CA}"/>
          </ac:picMkLst>
        </pc:picChg>
      </pc:sldChg>
    </pc:docChg>
  </pc:docChgLst>
  <pc:docChgLst>
    <pc:chgData name="Venice Luceriaga" userId="839f0d71-ba4e-4d82-ba7c-a286ba33f464" providerId="ADAL" clId="{C6F0D78B-9B14-43AD-899B-69B3586FF08E}"/>
    <pc:docChg chg="undo custSel modSld">
      <pc:chgData name="Venice Luceriaga" userId="839f0d71-ba4e-4d82-ba7c-a286ba33f464" providerId="ADAL" clId="{C6F0D78B-9B14-43AD-899B-69B3586FF08E}" dt="2023-09-27T16:37:23.072" v="34" actId="18131"/>
      <pc:docMkLst>
        <pc:docMk/>
      </pc:docMkLst>
      <pc:sldChg chg="addSp modSp mod">
        <pc:chgData name="Venice Luceriaga" userId="839f0d71-ba4e-4d82-ba7c-a286ba33f464" providerId="ADAL" clId="{C6F0D78B-9B14-43AD-899B-69B3586FF08E}" dt="2023-09-27T16:37:23.072" v="34" actId="18131"/>
        <pc:sldMkLst>
          <pc:docMk/>
          <pc:sldMk cId="488077017" sldId="2147470357"/>
        </pc:sldMkLst>
        <pc:spChg chg="mod">
          <ac:chgData name="Venice Luceriaga" userId="839f0d71-ba4e-4d82-ba7c-a286ba33f464" providerId="ADAL" clId="{C6F0D78B-9B14-43AD-899B-69B3586FF08E}" dt="2023-09-27T16:35:02.316" v="12" actId="20577"/>
          <ac:spMkLst>
            <pc:docMk/>
            <pc:sldMk cId="488077017" sldId="2147470357"/>
            <ac:spMk id="3" creationId="{36E0FA3E-A272-976C-9E4D-E1CF489F0696}"/>
          </ac:spMkLst>
        </pc:spChg>
        <pc:picChg chg="add mod modCrop">
          <ac:chgData name="Venice Luceriaga" userId="839f0d71-ba4e-4d82-ba7c-a286ba33f464" providerId="ADAL" clId="{C6F0D78B-9B14-43AD-899B-69B3586FF08E}" dt="2023-09-27T16:37:23.072" v="34" actId="18131"/>
          <ac:picMkLst>
            <pc:docMk/>
            <pc:sldMk cId="488077017" sldId="2147470357"/>
            <ac:picMk id="9" creationId="{F5D3E23A-1E51-D1C9-CB30-5690A0EBD3CA}"/>
          </ac:picMkLst>
        </pc:picChg>
        <pc:picChg chg="mod">
          <ac:chgData name="Venice Luceriaga" userId="839f0d71-ba4e-4d82-ba7c-a286ba33f464" providerId="ADAL" clId="{C6F0D78B-9B14-43AD-899B-69B3586FF08E}" dt="2023-09-27T16:36:01.401" v="15" actId="207"/>
          <ac:picMkLst>
            <pc:docMk/>
            <pc:sldMk cId="488077017" sldId="2147470357"/>
            <ac:picMk id="10" creationId="{DE44158A-57CA-3326-F058-648E42581EF8}"/>
          </ac:picMkLst>
        </pc:picChg>
      </pc:sldChg>
    </pc:docChg>
  </pc:docChgLst>
  <pc:docChgLst>
    <pc:chgData name="Stuart Lopez" userId="e8c0151a-f337-42b8-9c69-49b3be5c85a6" providerId="ADAL" clId="{45B7F05C-38B9-3344-8D38-9C55846FAD3F}"/>
    <pc:docChg chg="undo custSel delSld modSld">
      <pc:chgData name="Stuart Lopez" userId="e8c0151a-f337-42b8-9c69-49b3be5c85a6" providerId="ADAL" clId="{45B7F05C-38B9-3344-8D38-9C55846FAD3F}" dt="2023-08-11T18:17:56.866" v="30" actId="2696"/>
      <pc:docMkLst>
        <pc:docMk/>
      </pc:docMkLst>
      <pc:sldChg chg="del">
        <pc:chgData name="Stuart Lopez" userId="e8c0151a-f337-42b8-9c69-49b3be5c85a6" providerId="ADAL" clId="{45B7F05C-38B9-3344-8D38-9C55846FAD3F}" dt="2023-08-11T18:17:56.855" v="29" actId="2696"/>
        <pc:sldMkLst>
          <pc:docMk/>
          <pc:sldMk cId="3678744320" sldId="2147470353"/>
        </pc:sldMkLst>
      </pc:sldChg>
      <pc:sldChg chg="del">
        <pc:chgData name="Stuart Lopez" userId="e8c0151a-f337-42b8-9c69-49b3be5c85a6" providerId="ADAL" clId="{45B7F05C-38B9-3344-8D38-9C55846FAD3F}" dt="2023-08-11T18:17:56.866" v="30" actId="2696"/>
        <pc:sldMkLst>
          <pc:docMk/>
          <pc:sldMk cId="1517383784" sldId="2147470356"/>
        </pc:sldMkLst>
      </pc:sldChg>
      <pc:sldChg chg="modSp mod">
        <pc:chgData name="Stuart Lopez" userId="e8c0151a-f337-42b8-9c69-49b3be5c85a6" providerId="ADAL" clId="{45B7F05C-38B9-3344-8D38-9C55846FAD3F}" dt="2023-08-11T18:17:37.352" v="28"/>
        <pc:sldMkLst>
          <pc:docMk/>
          <pc:sldMk cId="488077017" sldId="2147470357"/>
        </pc:sldMkLst>
        <pc:spChg chg="mod">
          <ac:chgData name="Stuart Lopez" userId="e8c0151a-f337-42b8-9c69-49b3be5c85a6" providerId="ADAL" clId="{45B7F05C-38B9-3344-8D38-9C55846FAD3F}" dt="2023-08-11T18:17:37.352" v="28"/>
          <ac:spMkLst>
            <pc:docMk/>
            <pc:sldMk cId="488077017" sldId="2147470357"/>
            <ac:spMk id="7" creationId="{C768C937-7AEA-29B5-C8DB-00857148792F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9F37364-4253-4BC9-BBFD-9C4FDEE23315}" type="datetimeFigureOut">
              <a:rPr lang="en-US" smtClean="0"/>
              <a:t>9/2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2E9F67F-724E-4669-BC51-C8A1C148C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1733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CEE3E01-E9DA-4092-A27B-6EC7A7214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583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CEE3E01-E9DA-4092-A27B-6EC7A7214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4E5D5EC-54B3-44D2-BE33-871FC1F84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3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B4A5A04-FA96-457E-BD4F-8D7DE6059F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4" y="1778000"/>
            <a:ext cx="10445186" cy="2229039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>
              <a:lnSpc>
                <a:spcPct val="80000"/>
              </a:lnSpc>
              <a:defRPr sz="40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E63D79D-FA26-4C8B-BB56-793ED849ED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4" y="4090893"/>
            <a:ext cx="10451006" cy="102982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4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732730B9-E286-0049-90BA-CE84B84D1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8724" y="5461870"/>
            <a:ext cx="3200400" cy="365125"/>
          </a:xfrm>
        </p:spPr>
        <p:txBody>
          <a:bodyPr lIns="0">
            <a:normAutofit/>
          </a:bodyPr>
          <a:lstStyle>
            <a:lvl1pPr marL="0" indent="0">
              <a:buNone/>
              <a:defRPr sz="12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13850E-D368-6082-2038-319DE050CF5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t="2815" b="2815"/>
          <a:stretch/>
        </p:blipFill>
        <p:spPr>
          <a:xfrm>
            <a:off x="197697" y="376730"/>
            <a:ext cx="3418905" cy="912424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D4D6C2-6185-7BA6-594A-953C700715A9}"/>
              </a:ext>
            </a:extLst>
          </p:cNvPr>
          <p:cNvCxnSpPr/>
          <p:nvPr userDrawn="1"/>
        </p:nvCxnSpPr>
        <p:spPr>
          <a:xfrm>
            <a:off x="458724" y="4007039"/>
            <a:ext cx="1127241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84194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 userDrawn="1">
          <p15:clr>
            <a:srgbClr val="FBAE40"/>
          </p15:clr>
        </p15:guide>
        <p15:guide id="2" pos="288" userDrawn="1">
          <p15:clr>
            <a:srgbClr val="FBAE40"/>
          </p15:clr>
        </p15:guide>
        <p15:guide id="3" orient="horz" pos="2640" userDrawn="1">
          <p15:clr>
            <a:srgbClr val="FBAE40"/>
          </p15:clr>
        </p15:guide>
        <p15:guide id="4" orient="horz" pos="1104" userDrawn="1">
          <p15:clr>
            <a:srgbClr val="FBAE40"/>
          </p15:clr>
        </p15:guide>
        <p15:guide id="5" orient="horz" pos="355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9">
            <a:extLst>
              <a:ext uri="{FF2B5EF4-FFF2-40B4-BE49-F238E27FC236}">
                <a16:creationId xmlns:a16="http://schemas.microsoft.com/office/drawing/2014/main" id="{90EC8A67-C222-1570-FC76-73283A84E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AC84BFD-C099-B833-4BB0-393D22270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361033A-20F6-9872-733F-FCE006C1245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8724" y="1454911"/>
            <a:ext cx="11274552" cy="4497709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60BF2B5-F244-1ACE-2DE8-E01B0C5DDBEB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FD03754-254E-CF28-E536-ECF19940F3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9B50686-B547-F9DF-784F-B4D3CBB1D516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E677AD99-72CC-0D7F-56C8-4B0389CE02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une 2023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0565BA-6481-5A4E-BA7A-C990F19C91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184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4" userDrawn="1">
          <p15:clr>
            <a:srgbClr val="FBAE40"/>
          </p15:clr>
        </p15:guide>
        <p15:guide id="2" pos="288" userDrawn="1">
          <p15:clr>
            <a:srgbClr val="FBAE40"/>
          </p15:clr>
        </p15:guide>
        <p15:guide id="3" pos="739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CFAF608-3FA7-8C85-363F-0DBBFF44561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52024" y="1458871"/>
            <a:ext cx="5297735" cy="4497709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1B5119-8865-0CF0-6368-C529DACA52E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435542" y="1458871"/>
            <a:ext cx="5277480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7" name="Title 9">
            <a:extLst>
              <a:ext uri="{FF2B5EF4-FFF2-40B4-BE49-F238E27FC236}">
                <a16:creationId xmlns:a16="http://schemas.microsoft.com/office/drawing/2014/main" id="{2FEC398D-416D-E91C-2CD0-ECEA3A845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5" y="325588"/>
            <a:ext cx="11254296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4F6A4B8-1230-D302-8F9A-EEB6E13260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3" y="656482"/>
            <a:ext cx="11267675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F158B2A-21F7-FAFF-E17A-3D1FBA429C67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72B7C099-2B1F-2C0A-C5AD-CF8CBDC865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5663A1F-7315-C38D-7E2D-46213DA2DB14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83923292-A7A2-F1DA-3EB8-0D15EF206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une 2023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0DD75C3-15CA-AA8B-32F3-386DAC2638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910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4" userDrawn="1">
          <p15:clr>
            <a:srgbClr val="FBAE40"/>
          </p15:clr>
        </p15:guide>
        <p15:guide id="2" pos="288" userDrawn="1">
          <p15:clr>
            <a:srgbClr val="FBAE40"/>
          </p15:clr>
        </p15:guide>
        <p15:guide id="3" pos="739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B92F2B5-7FD5-3F94-21BE-35C298FA30E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2024" y="1461877"/>
            <a:ext cx="3353839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D242BDC-FBEB-3449-DF66-AAEEAA458DF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10965" y="1461877"/>
            <a:ext cx="3353839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ECE8547-A935-0545-AE1A-847685C1805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66050" y="1461877"/>
            <a:ext cx="3353839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2" name="Title 9">
            <a:extLst>
              <a:ext uri="{FF2B5EF4-FFF2-40B4-BE49-F238E27FC236}">
                <a16:creationId xmlns:a16="http://schemas.microsoft.com/office/drawing/2014/main" id="{ADBFCA2D-CC7B-46C4-23EA-3FDB3823C4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133CAD0-2DC7-2D3B-2954-0DC4A62F37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586417D-FAF6-F717-1848-5724E0F601E5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F92F369-7D4C-E641-F055-D88B780E02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C1A748-22B1-DD1A-E2E0-07FF9CF738A5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35E65C21-D86A-45A4-ABE1-7CD953DF4D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une 2023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5AEFE18-8C4B-8A33-DFFC-D7AFCAA89C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995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4" userDrawn="1">
          <p15:clr>
            <a:srgbClr val="FBAE40"/>
          </p15:clr>
        </p15:guide>
        <p15:guide id="2" pos="288" userDrawn="1">
          <p15:clr>
            <a:srgbClr val="FBAE40"/>
          </p15:clr>
        </p15:guide>
        <p15:guide id="3" pos="739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9">
            <a:extLst>
              <a:ext uri="{FF2B5EF4-FFF2-40B4-BE49-F238E27FC236}">
                <a16:creationId xmlns:a16="http://schemas.microsoft.com/office/drawing/2014/main" id="{C9974485-2D0E-FAEA-D0DB-A49D808D1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64570818-F557-452A-3488-71F7A2F6FC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8BE4002-6DAA-423F-C293-AA0F2CF0AE7A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7B3A7369-F9CF-7CE0-7888-EA95B952D3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A4092C6-FE61-9E75-D143-B0F2F6CE928B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ECDE42AD-82B8-E3CF-30E8-CA2B35DC83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une 2023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71D5A74-ED12-A033-4545-B3A67A24F5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961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4" userDrawn="1">
          <p15:clr>
            <a:srgbClr val="FBAE40"/>
          </p15:clr>
        </p15:guide>
        <p15:guide id="2" pos="288" userDrawn="1">
          <p15:clr>
            <a:srgbClr val="FBAE40"/>
          </p15:clr>
        </p15:guide>
        <p15:guide id="3" pos="739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ondary Slide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9">
            <a:extLst>
              <a:ext uri="{FF2B5EF4-FFF2-40B4-BE49-F238E27FC236}">
                <a16:creationId xmlns:a16="http://schemas.microsoft.com/office/drawing/2014/main" id="{C9974485-2D0E-FAEA-D0DB-A49D808D1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64570818-F557-452A-3488-71F7A2F6FC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8BE4002-6DAA-423F-C293-AA0F2CF0AE7A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D71D5A74-ED12-A033-4545-B3A67A24F5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246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pos="288">
          <p15:clr>
            <a:srgbClr val="FBAE40"/>
          </p15:clr>
        </p15:guide>
        <p15:guide id="3" pos="739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Break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B98505-CFE9-94CB-E6AB-503D4256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2276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B98505-CFE9-94CB-E6AB-503D4256D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9">
            <a:extLst>
              <a:ext uri="{FF2B5EF4-FFF2-40B4-BE49-F238E27FC236}">
                <a16:creationId xmlns:a16="http://schemas.microsoft.com/office/drawing/2014/main" id="{A771E4BF-CECF-5FE2-230C-C09CC46BD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447868"/>
            <a:ext cx="7819862" cy="5267121"/>
          </a:xfrm>
          <a:prstGeom prst="rect">
            <a:avLst/>
          </a:prstGeom>
        </p:spPr>
        <p:txBody>
          <a:bodyPr lIns="0" anchor="ctr"/>
          <a:lstStyle>
            <a:lvl1pPr>
              <a:lnSpc>
                <a:spcPct val="80000"/>
              </a:lnSpc>
              <a:defRPr sz="4000" b="1" i="0" spc="-50" baseline="0">
                <a:solidFill>
                  <a:schemeClr val="tx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/>
              <a:t>CLICK TO EDIT BREAK SLID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ECA7860-4A01-FCE9-D4AA-90E07D8E3F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tx1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62880A3-9F60-5AA4-0905-83D714193A66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2E9186F8-3821-0675-CCC4-A192E27ED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tx1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une 2023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69786D8-F6F4-F7E4-9BAF-C7A91A7B9BD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4190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BAE40"/>
          </p15:clr>
        </p15:guide>
        <p15:guide id="2" pos="739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4669A-3965-4574-AE08-023D5B9A75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90903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6" progId="TCLayout.ActiveDocument.1">
                  <p:embed/>
                </p:oleObj>
              </mc:Choice>
              <mc:Fallback>
                <p:oleObj name="think-cell Slide" r:id="rId11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4669A-3965-4574-AE08-023D5B9A75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A21BD4-7ED6-49C2-8F9D-399A4343D23A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4A7151B9-1C44-6246-8C23-5044ABE740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2775" y="6221369"/>
            <a:ext cx="3114739" cy="4620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en-US"/>
              <a:t>Confidential  |  June 2023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C4788BE5-9378-D14A-9E2E-5551132ED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776" y="361456"/>
            <a:ext cx="11172467" cy="831194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3D021ED-74DD-514E-A630-410E504345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2775" y="1370073"/>
            <a:ext cx="11172468" cy="4643854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770192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4" r:id="rId2"/>
    <p:sldLayoutId id="2147483712" r:id="rId3"/>
    <p:sldLayoutId id="2147483705" r:id="rId4"/>
    <p:sldLayoutId id="2147483706" r:id="rId5"/>
    <p:sldLayoutId id="2147483713" r:id="rId6"/>
    <p:sldLayoutId id="2147483702" r:id="rId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i="0" kern="1200">
          <a:solidFill>
            <a:schemeClr val="accent1"/>
          </a:solidFill>
          <a:latin typeface="Franklin Gothic Heavy" panose="020B0603020102020204" pitchFamily="34" charset="0"/>
          <a:ea typeface="Tahoma" panose="020B0604030504040204" pitchFamily="34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4"/>
        </a:buClr>
        <a:buFont typeface="Arial" panose="020B0604020202020204" pitchFamily="34" charset="0"/>
        <a:buNone/>
        <a:defRPr sz="2000" b="1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None/>
        <a:tabLst/>
        <a:defRPr sz="2000" b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2pPr>
      <a:lvl3pPr marL="354013" indent="-3540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3pPr>
      <a:lvl4pPr marL="695325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SzPct val="100000"/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4pPr>
      <a:lvl5pPr marL="1036638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5pPr>
      <a:lvl6pPr marL="1422400" indent="-34290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Tahoma" panose="020B0604030504040204" pitchFamily="34" charset="0"/>
        </a:defRPr>
      </a:lvl6pPr>
      <a:lvl7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/>
        <a:buNone/>
        <a:tabLst/>
        <a:defRPr sz="4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 descr="A white person with a grey background&#10;&#10;Description automatically generated">
            <a:extLst>
              <a:ext uri="{FF2B5EF4-FFF2-40B4-BE49-F238E27FC236}">
                <a16:creationId xmlns:a16="http://schemas.microsoft.com/office/drawing/2014/main" id="{DE44158A-57CA-3326-F058-648E42581EF8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38" y="1458912"/>
            <a:ext cx="2479179" cy="2665117"/>
          </a:xfrm>
          <a:blipFill>
            <a:blip r:embed="rId3"/>
            <a:stretch>
              <a:fillRect/>
            </a:stretch>
          </a:blipFill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768C937-7AEA-29B5-C8DB-00857148792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70666" y="2791470"/>
            <a:ext cx="3954462" cy="3059130"/>
          </a:xfrm>
          <a:solidFill>
            <a:schemeClr val="bg1">
              <a:lumMod val="95000"/>
            </a:schemeClr>
          </a:solidFill>
        </p:spPr>
        <p:txBody>
          <a:bodyPr lIns="137160" tIns="137160" rIns="137160" bIns="137160">
            <a:normAutofit/>
          </a:bodyPr>
          <a:lstStyle/>
          <a:p>
            <a:r>
              <a:rPr lang="en-US" sz="1600"/>
              <a:t>A little about me</a:t>
            </a:r>
          </a:p>
          <a:p>
            <a:pPr lvl="1"/>
            <a:r>
              <a:rPr lang="en-US" sz="1600"/>
              <a:t>&lt;Tell us a few things about you&gt; 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9268A19-A1F9-A450-1831-A05A3A3160D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764178" y="1462088"/>
            <a:ext cx="3956335" cy="4497387"/>
          </a:xfrm>
        </p:spPr>
        <p:txBody>
          <a:bodyPr>
            <a:normAutofit/>
          </a:bodyPr>
          <a:lstStyle/>
          <a:p>
            <a:r>
              <a:rPr lang="en-US" sz="1600"/>
              <a:t>What are you currently reading, watching or listening to (book/TV show/podcast)?</a:t>
            </a:r>
          </a:p>
          <a:p>
            <a:pPr lvl="1"/>
            <a:r>
              <a:rPr lang="en-US" sz="1600"/>
              <a:t>&lt;XXX&gt;</a:t>
            </a:r>
          </a:p>
          <a:p>
            <a:endParaRPr lang="en-US" sz="1600"/>
          </a:p>
          <a:p>
            <a:r>
              <a:rPr lang="en-US" sz="1600"/>
              <a:t>If you were to describe your job to a 5 year old:</a:t>
            </a:r>
          </a:p>
          <a:p>
            <a:pPr lvl="1"/>
            <a:r>
              <a:rPr lang="en-US" sz="1600"/>
              <a:t>&lt;XXX&gt;</a:t>
            </a:r>
          </a:p>
          <a:p>
            <a:pPr lvl="1"/>
            <a:endParaRPr lang="en-US"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82EA46-D508-15C6-2E04-71E2E485C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24" y="325588"/>
            <a:ext cx="11261165" cy="536415"/>
          </a:xfrm>
        </p:spPr>
        <p:txBody>
          <a:bodyPr/>
          <a:lstStyle/>
          <a:p>
            <a:r>
              <a:rPr lang="en-US"/>
              <a:t>GET TO KNO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E0FA3E-A272-976C-9E4D-E1CF489F069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2024" y="656482"/>
            <a:ext cx="11274552" cy="469900"/>
          </a:xfrm>
        </p:spPr>
        <p:txBody>
          <a:bodyPr vert="horz" lIns="0" tIns="45720" rIns="91440" bIns="45720" rtlCol="0" anchor="t">
            <a:normAutofit/>
          </a:bodyPr>
          <a:lstStyle/>
          <a:p>
            <a:r>
              <a:rPr lang="en-US">
                <a:latin typeface="Candara"/>
                <a:ea typeface="Tahoma"/>
                <a:cs typeface="Arial"/>
              </a:rPr>
              <a:t>&lt;First Name&gt;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B6FC18-76D3-93CE-7FE9-9CF7D5ED32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</p:spPr>
        <p:txBody>
          <a:bodyPr/>
          <a:lstStyle/>
          <a:p>
            <a:fld id="{F0D6E494-49D5-4155-9E52-425437BF7D9A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A12C70-943E-5F4A-3EA9-0CBA258D05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</p:spPr>
        <p:txBody>
          <a:bodyPr/>
          <a:lstStyle/>
          <a:p>
            <a:r>
              <a:rPr lang="en-US"/>
              <a:t>Confidential  |  June 2023</a:t>
            </a:r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18ECCBBB-308B-3A90-8E85-04D85B82F503}"/>
              </a:ext>
            </a:extLst>
          </p:cNvPr>
          <p:cNvSpPr txBox="1">
            <a:spLocks/>
          </p:cNvSpPr>
          <p:nvPr/>
        </p:nvSpPr>
        <p:spPr>
          <a:xfrm>
            <a:off x="3374711" y="1457276"/>
            <a:ext cx="2475548" cy="168008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2000" b="1" i="0" kern="1200" spc="-50" baseline="0">
                <a:solidFill>
                  <a:schemeClr val="tx2"/>
                </a:solidFill>
                <a:latin typeface="Candara" panose="020E0502030303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None/>
              <a:tabLst/>
              <a:defRPr sz="2000" b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354013" indent="-3540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695325" indent="-3413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1036638" indent="-3413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14224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Candara" panose="020E0502030303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accent5"/>
                </a:solidFill>
              </a:rPr>
              <a:t>&lt;Full Name&gt;</a:t>
            </a:r>
          </a:p>
          <a:p>
            <a:r>
              <a:rPr lang="en-US" sz="1600"/>
              <a:t>&lt;Job Title&gt;</a:t>
            </a:r>
          </a:p>
          <a:p>
            <a:r>
              <a:rPr lang="en-US" sz="1600"/>
              <a:t>&lt;Location&gt;</a:t>
            </a:r>
          </a:p>
        </p:txBody>
      </p:sp>
      <p:sp>
        <p:nvSpPr>
          <p:cNvPr id="22" name="Content Placeholder 7">
            <a:extLst>
              <a:ext uri="{FF2B5EF4-FFF2-40B4-BE49-F238E27FC236}">
                <a16:creationId xmlns:a16="http://schemas.microsoft.com/office/drawing/2014/main" id="{5F924A5E-9CC8-E82C-E80C-24081A58F890}"/>
              </a:ext>
            </a:extLst>
          </p:cNvPr>
          <p:cNvSpPr txBox="1">
            <a:spLocks/>
          </p:cNvSpPr>
          <p:nvPr/>
        </p:nvSpPr>
        <p:spPr>
          <a:xfrm>
            <a:off x="452024" y="4279390"/>
            <a:ext cx="3956335" cy="1680085"/>
          </a:xfrm>
          <a:prstGeom prst="rect">
            <a:avLst/>
          </a:prstGeom>
        </p:spPr>
        <p:txBody>
          <a:bodyPr vert="horz" lIns="0" tIns="45720" rIns="91440" bIns="4572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2000" b="1" i="0" kern="1200" spc="-50" baseline="0">
                <a:solidFill>
                  <a:schemeClr val="tx2"/>
                </a:solidFill>
                <a:latin typeface="Candara" panose="020E0502030303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None/>
              <a:tabLst/>
              <a:defRPr sz="2000" b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354013" indent="-3540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695325" indent="-3413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1036638" indent="-3413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+mn-lt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14224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/>
              <a:defRPr sz="2000" b="0" i="0" kern="1200" spc="-50" baseline="0">
                <a:solidFill>
                  <a:schemeClr val="tx2"/>
                </a:solidFill>
                <a:latin typeface="Candara" panose="020E050203030302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Favorites</a:t>
            </a:r>
          </a:p>
          <a:p>
            <a:pPr lvl="1"/>
            <a:r>
              <a:rPr lang="en-US" sz="1600"/>
              <a:t>Food	&lt;XXX&gt;</a:t>
            </a:r>
          </a:p>
          <a:p>
            <a:pPr lvl="1"/>
            <a:r>
              <a:rPr lang="en-US" sz="1600"/>
              <a:t>Holiday	&lt;XXX&gt;</a:t>
            </a:r>
          </a:p>
          <a:p>
            <a:pPr lvl="1"/>
            <a:r>
              <a:rPr lang="en-US" sz="1600"/>
              <a:t>Team	&lt;XXX&gt;</a:t>
            </a:r>
          </a:p>
          <a:p>
            <a:pPr lvl="1"/>
            <a:r>
              <a:rPr lang="en-US" sz="1600"/>
              <a:t>Hobby	&lt;XXX&gt;</a:t>
            </a:r>
          </a:p>
        </p:txBody>
      </p:sp>
    </p:spTree>
    <p:extLst>
      <p:ext uri="{BB962C8B-B14F-4D97-AF65-F5344CB8AC3E}">
        <p14:creationId xmlns:p14="http://schemas.microsoft.com/office/powerpoint/2010/main" val="4880770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1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1.81000000000000005329E+00&quot;&gt;&lt;m_msothmcolidx val=&quot;0&quot;/&gt;&lt;m_rgb r=&quot;DE&quot; g=&quot;5A&quot; b=&quot;00&quot;/&gt;&lt;/elem&gt;&lt;elem m_fUsage=&quot;9.00000000000000022204E-01&quot;&gt;&lt;m_msothmcolidx val=&quot;0&quot;/&gt;&lt;m_rgb r=&quot;3F&quot; g=&quot;4B&quot; b=&quot;3F&quot;/&gt;&lt;/elem&gt;&lt;elem m_fUsage=&quot;7.29000000000000092371E-01&quot;&gt;&lt;m_msothmcolidx val=&quot;0&quot;/&gt;&lt;m_rgb r=&quot;40&quot; g=&quot;53&quot; b=&quot;8C&quot;/&gt;&lt;/elem&gt;&lt;elem m_fUsage=&quot;6.56100000000000127542E-01&quot;&gt;&lt;m_msothmcolidx val=&quot;0&quot;/&gt;&lt;m_rgb r=&quot;DF&quot; g=&quot;2D&quot; b=&quot;1F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8baaqDMg62n9TL9FoX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4U_.AjqLwADg46TpJW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in Theme_Confidential">
  <a:themeElements>
    <a:clrScheme name="Metsera">
      <a:dk1>
        <a:srgbClr val="002017"/>
      </a:dk1>
      <a:lt1>
        <a:srgbClr val="FFFFFF"/>
      </a:lt1>
      <a:dk2>
        <a:srgbClr val="3F4041"/>
      </a:dk2>
      <a:lt2>
        <a:srgbClr val="737477"/>
      </a:lt2>
      <a:accent1>
        <a:srgbClr val="003B2A"/>
      </a:accent1>
      <a:accent2>
        <a:srgbClr val="008351"/>
      </a:accent2>
      <a:accent3>
        <a:srgbClr val="61BA49"/>
      </a:accent3>
      <a:accent4>
        <a:srgbClr val="A2E895"/>
      </a:accent4>
      <a:accent5>
        <a:srgbClr val="FF5900"/>
      </a:accent5>
      <a:accent6>
        <a:srgbClr val="F1A33C"/>
      </a:accent6>
      <a:hlink>
        <a:srgbClr val="007FFF"/>
      </a:hlink>
      <a:folHlink>
        <a:srgbClr val="003754"/>
      </a:folHlink>
    </a:clrScheme>
    <a:fontScheme name="Candara">
      <a:maj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Fractyl-Template-PPT-022421-v02" id="{E1DBE059-9423-224C-8F00-A4906CB9904C}" vid="{29C16914-1C7F-5242-A9B8-AD4E119F605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e1d24c5-b878-439b-8570-a7c8ba6bb6e0" xsi:nil="true"/>
    <lcf76f155ced4ddcb4097134ff3c332f xmlns="d8c535c6-63a4-4339-b449-26eeb0d3d3cb">
      <Terms xmlns="http://schemas.microsoft.com/office/infopath/2007/PartnerControls"/>
    </lcf76f155ced4ddcb4097134ff3c332f>
    <Reason xmlns="d8c535c6-63a4-4339-b449-26eeb0d3d3cb" xsi:nil="true"/>
    <Note xmlns="d8c535c6-63a4-4339-b449-26eeb0d3d3cb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3B5AC5FBBB2C4DB9BE0ED4E2D9D977" ma:contentTypeVersion="16" ma:contentTypeDescription="Create a new document." ma:contentTypeScope="" ma:versionID="96c1099b2a8cc80e3a2a2c9d494c4ea7">
  <xsd:schema xmlns:xsd="http://www.w3.org/2001/XMLSchema" xmlns:xs="http://www.w3.org/2001/XMLSchema" xmlns:p="http://schemas.microsoft.com/office/2006/metadata/properties" xmlns:ns2="d8c535c6-63a4-4339-b449-26eeb0d3d3cb" xmlns:ns3="ce1d24c5-b878-439b-8570-a7c8ba6bb6e0" targetNamespace="http://schemas.microsoft.com/office/2006/metadata/properties" ma:root="true" ma:fieldsID="573075f82de53820268ad61c3f17a697" ns2:_="" ns3:_="">
    <xsd:import namespace="d8c535c6-63a4-4339-b449-26eeb0d3d3cb"/>
    <xsd:import namespace="ce1d24c5-b878-439b-8570-a7c8ba6bb6e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Reason" minOccurs="0"/>
                <xsd:element ref="ns2:MediaLengthInSeconds" minOccurs="0"/>
                <xsd:element ref="ns2:No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c535c6-63a4-4339-b449-26eeb0d3d3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e88fe80d-a298-4146-b3b6-c61f938191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Reason" ma:index="21" nillable="true" ma:displayName="Reason" ma:description="Final Review prior to going LIVE" ma:format="Dropdown" ma:internalName="Reason">
      <xsd:simpleType>
        <xsd:restriction base="dms:Text">
          <xsd:maxLength value="255"/>
        </xsd:restriction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Note" ma:index="23" nillable="true" ma:displayName="Note" ma:format="Dropdown" ma:internalName="Not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1d24c5-b878-439b-8570-a7c8ba6bb6e0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52ac7264-13b3-4ad4-bce5-4d183213b293}" ma:internalName="TaxCatchAll" ma:showField="CatchAllData" ma:web="ce1d24c5-b878-439b-8570-a7c8ba6bb6e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F2F879D-8863-4808-8589-430CC253668D}">
  <ds:schemaRefs>
    <ds:schemaRef ds:uri="ce1d24c5-b878-439b-8570-a7c8ba6bb6e0"/>
    <ds:schemaRef ds:uri="d8c535c6-63a4-4339-b449-26eeb0d3d3c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6E67044-0399-46D6-AB5A-1A0391AED0AC}"/>
</file>

<file path=customXml/itemProps3.xml><?xml version="1.0" encoding="utf-8"?>
<ds:datastoreItem xmlns:ds="http://schemas.openxmlformats.org/officeDocument/2006/customXml" ds:itemID="{9CB7CE25-0E07-4002-A83F-50F8BEC7EBB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1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Main Theme_Confidential</vt:lpstr>
      <vt:lpstr>GET TO KNO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daytona</dc:title>
  <dc:creator>Eshan Vasudeva</dc:creator>
  <cp:revision>1</cp:revision>
  <cp:lastPrinted>2022-12-22T18:37:53Z</cp:lastPrinted>
  <dcterms:created xsi:type="dcterms:W3CDTF">2022-10-11T20:38:03Z</dcterms:created>
  <dcterms:modified xsi:type="dcterms:W3CDTF">2023-09-28T10:57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3B5AC5FBBB2C4DB9BE0ED4E2D9D977</vt:lpwstr>
  </property>
  <property fmtid="{D5CDD505-2E9C-101B-9397-08002B2CF9AE}" pid="3" name="MediaServiceImageTags">
    <vt:lpwstr/>
  </property>
</Properties>
</file>